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  <p:sldMasterId id="2147483817" r:id="rId5"/>
    <p:sldMasterId id="2147483824" r:id="rId6"/>
  </p:sldMasterIdLst>
  <p:notesMasterIdLst>
    <p:notesMasterId r:id="rId11"/>
  </p:notesMasterIdLst>
  <p:handoutMasterIdLst>
    <p:handoutMasterId r:id="rId12"/>
  </p:handoutMasterIdLst>
  <p:sldIdLst>
    <p:sldId id="546" r:id="rId7"/>
    <p:sldId id="2141411554" r:id="rId8"/>
    <p:sldId id="2141411579" r:id="rId9"/>
    <p:sldId id="2141411444" r:id="rId10"/>
  </p:sldIdLst>
  <p:sldSz cx="12192000" cy="6858000"/>
  <p:notesSz cx="6670675" cy="9777413"/>
  <p:custDataLst>
    <p:tags r:id="rId13"/>
  </p:custDataLst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>
        <a:solidFill>
          <a:schemeClr val="tx1"/>
        </a:solidFill>
        <a:latin typeface="+mn-lt"/>
        <a:ea typeface="+mn-ea"/>
      </a:defRPr>
    </a:lvl2pPr>
    <a:lvl3pPr marL="359991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•"/>
      <a:defRPr sz="2400">
        <a:solidFill>
          <a:schemeClr val="tx1"/>
        </a:solidFill>
        <a:latin typeface="+mn-lt"/>
        <a:ea typeface="+mn-ea"/>
      </a:defRPr>
    </a:lvl3pPr>
    <a:lvl4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-"/>
      <a:defRPr sz="2400">
        <a:solidFill>
          <a:schemeClr val="tx1"/>
        </a:solidFill>
        <a:latin typeface="+mn-lt"/>
        <a:ea typeface="+mn-ea"/>
      </a:defRPr>
    </a:lvl4pPr>
    <a:lvl5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◦"/>
      <a:defRPr sz="2400">
        <a:solidFill>
          <a:schemeClr val="tx1"/>
        </a:solidFill>
        <a:latin typeface="+mn-lt"/>
        <a:ea typeface="+mn-ea"/>
      </a:defRPr>
    </a:lvl5pPr>
    <a:lvl6pPr marL="0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rabicPeriod"/>
      <a:defRPr sz="2400">
        <a:solidFill>
          <a:schemeClr val="tx1"/>
        </a:solidFill>
        <a:latin typeface="+mn-lt"/>
        <a:ea typeface="+mn-ea"/>
      </a:defRPr>
    </a:lvl6pPr>
    <a:lvl7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lphaLcPeriod"/>
      <a:defRPr sz="2400">
        <a:solidFill>
          <a:schemeClr val="tx1"/>
        </a:solidFill>
        <a:latin typeface="+mn-lt"/>
        <a:ea typeface="+mn-ea"/>
      </a:defRPr>
    </a:lvl7pPr>
    <a:lvl8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romanLcPeriod"/>
      <a:defRPr sz="24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32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1711" userDrawn="1">
          <p15:clr>
            <a:srgbClr val="A4A3A4"/>
          </p15:clr>
        </p15:guide>
        <p15:guide id="2" pos="1329" userDrawn="1">
          <p15:clr>
            <a:srgbClr val="A4A3A4"/>
          </p15:clr>
        </p15:guide>
        <p15:guide id="3" orient="horz" pos="40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/>
  <p:cmAuthor id="2" name="Klein, Alexander" initials="KA" lastIdx="14" clrIdx="1">
    <p:extLst>
      <p:ext uri="{19B8F6BF-5375-455C-9EA6-DF929625EA0E}">
        <p15:presenceInfo xmlns:p15="http://schemas.microsoft.com/office/powerpoint/2012/main" userId="S::Alexander.Klein@us.nationalgrid.com::84404c71-b403-4d87-83a8-1ddda009c8b4" providerId="AD"/>
      </p:ext>
    </p:extLst>
  </p:cmAuthor>
  <p:cmAuthor id="3" name="Semal, Clara" initials="SC" lastIdx="87" clrIdx="2">
    <p:extLst>
      <p:ext uri="{19B8F6BF-5375-455C-9EA6-DF929625EA0E}">
        <p15:presenceInfo xmlns:p15="http://schemas.microsoft.com/office/powerpoint/2012/main" userId="S::clara.semal@uk.nationalgrid.com::5435f734-6afc-41a4-b770-4d57144dff8a" providerId="AD"/>
      </p:ext>
    </p:extLst>
  </p:cmAuthor>
  <p:cmAuthor id="4" name="McCormick, Terry" initials="MT" lastIdx="5" clrIdx="3">
    <p:extLst>
      <p:ext uri="{19B8F6BF-5375-455C-9EA6-DF929625EA0E}">
        <p15:presenceInfo xmlns:p15="http://schemas.microsoft.com/office/powerpoint/2012/main" userId="S::Terry.McCormick@uk.nationalgrid.com::6d75a41a-2cb9-4f4b-a72a-33ccbcd32c9d" providerId="AD"/>
      </p:ext>
    </p:extLst>
  </p:cmAuthor>
  <p:cmAuthor id="5" name="Schulte, Alexander" initials="SA" lastIdx="2" clrIdx="4">
    <p:extLst>
      <p:ext uri="{19B8F6BF-5375-455C-9EA6-DF929625EA0E}">
        <p15:presenceInfo xmlns:p15="http://schemas.microsoft.com/office/powerpoint/2012/main" userId="S::Alexander.Schulte@us.nationalgrid.com::a8a45f41-271c-4ce4-abf8-f9c5e76b14d7" providerId="AD"/>
      </p:ext>
    </p:extLst>
  </p:cmAuthor>
  <p:cmAuthor id="6" name="Hanson, Kevin" initials="HK" lastIdx="1" clrIdx="5">
    <p:extLst>
      <p:ext uri="{19B8F6BF-5375-455C-9EA6-DF929625EA0E}">
        <p15:presenceInfo xmlns:p15="http://schemas.microsoft.com/office/powerpoint/2012/main" userId="S::Kevin.Hanson@us.nationalgrid.com::e60c6aad-8614-4884-8dc2-e8f78e5022b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33"/>
    <a:srgbClr val="A50021"/>
    <a:srgbClr val="50DBE6"/>
    <a:srgbClr val="125F7A"/>
    <a:srgbClr val="EEB0AE"/>
    <a:srgbClr val="DF7F7F"/>
    <a:srgbClr val="D65959"/>
    <a:srgbClr val="E58583"/>
    <a:srgbClr val="C00000"/>
    <a:srgbClr val="FFD2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F54E1E-41C3-4549-AB07-5CD97EAA8A68}" v="6" dt="2024-04-24T17:06:47.914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65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90" y="96"/>
      </p:cViewPr>
      <p:guideLst>
        <p:guide orient="horz" pos="1711"/>
        <p:guide pos="1329"/>
        <p:guide orient="horz" pos="400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handoutMaster" Target="handoutMasters/handout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commentAuthors" Target="comment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vin Hanson" userId="e60c6aad-8614-4884-8dc2-e8f78e5022b5" providerId="ADAL" clId="{F0BDB71A-7BED-46EC-B1DF-9AC7FC6C5192}"/>
    <pc:docChg chg="modSld">
      <pc:chgData name="Kevin Hanson" userId="e60c6aad-8614-4884-8dc2-e8f78e5022b5" providerId="ADAL" clId="{F0BDB71A-7BED-46EC-B1DF-9AC7FC6C5192}" dt="2024-04-01T14:25:54.278" v="0" actId="20577"/>
      <pc:docMkLst>
        <pc:docMk/>
      </pc:docMkLst>
      <pc:sldChg chg="modSp mod">
        <pc:chgData name="Kevin Hanson" userId="e60c6aad-8614-4884-8dc2-e8f78e5022b5" providerId="ADAL" clId="{F0BDB71A-7BED-46EC-B1DF-9AC7FC6C5192}" dt="2024-04-01T14:25:54.278" v="0" actId="20577"/>
        <pc:sldMkLst>
          <pc:docMk/>
          <pc:sldMk cId="1719432851" sldId="2141411573"/>
        </pc:sldMkLst>
        <pc:spChg chg="mod">
          <ac:chgData name="Kevin Hanson" userId="e60c6aad-8614-4884-8dc2-e8f78e5022b5" providerId="ADAL" clId="{F0BDB71A-7BED-46EC-B1DF-9AC7FC6C5192}" dt="2024-04-01T14:25:54.278" v="0" actId="20577"/>
          <ac:spMkLst>
            <pc:docMk/>
            <pc:sldMk cId="1719432851" sldId="2141411573"/>
            <ac:spMk id="3" creationId="{0DC0400C-A95B-4F6A-91D7-9F32927DA9E1}"/>
          </ac:spMkLst>
        </pc:spChg>
      </pc:sldChg>
    </pc:docChg>
  </pc:docChgLst>
  <pc:docChgLst>
    <pc:chgData name="Kevin Hanson" userId="e60c6aad-8614-4884-8dc2-e8f78e5022b5" providerId="ADAL" clId="{5D03B7B1-8418-485E-95D4-B90408987065}"/>
    <pc:docChg chg="modSld">
      <pc:chgData name="Kevin Hanson" userId="e60c6aad-8614-4884-8dc2-e8f78e5022b5" providerId="ADAL" clId="{5D03B7B1-8418-485E-95D4-B90408987065}" dt="2024-04-24T19:50:18.963" v="2"/>
      <pc:docMkLst>
        <pc:docMk/>
      </pc:docMkLst>
      <pc:sldChg chg="modSp mod">
        <pc:chgData name="Kevin Hanson" userId="e60c6aad-8614-4884-8dc2-e8f78e5022b5" providerId="ADAL" clId="{5D03B7B1-8418-485E-95D4-B90408987065}" dt="2024-04-24T19:49:28.886" v="1" actId="20577"/>
        <pc:sldMkLst>
          <pc:docMk/>
          <pc:sldMk cId="3173487482" sldId="2141411554"/>
        </pc:sldMkLst>
        <pc:spChg chg="mod">
          <ac:chgData name="Kevin Hanson" userId="e60c6aad-8614-4884-8dc2-e8f78e5022b5" providerId="ADAL" clId="{5D03B7B1-8418-485E-95D4-B90408987065}" dt="2024-04-24T19:49:28.886" v="1" actId="20577"/>
          <ac:spMkLst>
            <pc:docMk/>
            <pc:sldMk cId="3173487482" sldId="2141411554"/>
            <ac:spMk id="3" creationId="{E1F3F72A-850B-4B6D-BB79-4D65474A0470}"/>
          </ac:spMkLst>
        </pc:spChg>
      </pc:sldChg>
      <pc:sldChg chg="modSp mod">
        <pc:chgData name="Kevin Hanson" userId="e60c6aad-8614-4884-8dc2-e8f78e5022b5" providerId="ADAL" clId="{5D03B7B1-8418-485E-95D4-B90408987065}" dt="2024-04-24T19:50:18.963" v="2"/>
        <pc:sldMkLst>
          <pc:docMk/>
          <pc:sldMk cId="2565219634" sldId="2141411579"/>
        </pc:sldMkLst>
        <pc:spChg chg="mod">
          <ac:chgData name="Kevin Hanson" userId="e60c6aad-8614-4884-8dc2-e8f78e5022b5" providerId="ADAL" clId="{5D03B7B1-8418-485E-95D4-B90408987065}" dt="2024-04-24T19:50:18.963" v="2"/>
          <ac:spMkLst>
            <pc:docMk/>
            <pc:sldMk cId="2565219634" sldId="2141411579"/>
            <ac:spMk id="3" creationId="{E1F3F72A-850B-4B6D-BB79-4D65474A0470}"/>
          </ac:spMkLst>
        </pc:spChg>
      </pc:sldChg>
    </pc:docChg>
  </pc:docChgLst>
  <pc:docChgLst>
    <pc:chgData name="Kevin Hanson" userId="e60c6aad-8614-4884-8dc2-e8f78e5022b5" providerId="ADAL" clId="{51F54E1E-41C3-4549-AB07-5CD97EAA8A68}"/>
    <pc:docChg chg="undo custSel addSld delSld modSld sldOrd">
      <pc:chgData name="Kevin Hanson" userId="e60c6aad-8614-4884-8dc2-e8f78e5022b5" providerId="ADAL" clId="{51F54E1E-41C3-4549-AB07-5CD97EAA8A68}" dt="2024-04-24T17:07:33.637" v="1811" actId="20577"/>
      <pc:docMkLst>
        <pc:docMk/>
      </pc:docMkLst>
      <pc:sldChg chg="modSp mod">
        <pc:chgData name="Kevin Hanson" userId="e60c6aad-8614-4884-8dc2-e8f78e5022b5" providerId="ADAL" clId="{51F54E1E-41C3-4549-AB07-5CD97EAA8A68}" dt="2024-04-24T16:32:26.180" v="7" actId="20577"/>
        <pc:sldMkLst>
          <pc:docMk/>
          <pc:sldMk cId="136374311" sldId="546"/>
        </pc:sldMkLst>
        <pc:spChg chg="mod">
          <ac:chgData name="Kevin Hanson" userId="e60c6aad-8614-4884-8dc2-e8f78e5022b5" providerId="ADAL" clId="{51F54E1E-41C3-4549-AB07-5CD97EAA8A68}" dt="2024-04-24T16:32:16.003" v="2" actId="20577"/>
          <ac:spMkLst>
            <pc:docMk/>
            <pc:sldMk cId="136374311" sldId="546"/>
            <ac:spMk id="2" creationId="{00000000-0000-0000-0000-000000000000}"/>
          </ac:spMkLst>
        </pc:spChg>
        <pc:spChg chg="mod">
          <ac:chgData name="Kevin Hanson" userId="e60c6aad-8614-4884-8dc2-e8f78e5022b5" providerId="ADAL" clId="{51F54E1E-41C3-4549-AB07-5CD97EAA8A68}" dt="2024-04-24T16:32:26.180" v="7" actId="20577"/>
          <ac:spMkLst>
            <pc:docMk/>
            <pc:sldMk cId="136374311" sldId="546"/>
            <ac:spMk id="3" creationId="{00000000-0000-0000-0000-000000000000}"/>
          </ac:spMkLst>
        </pc:spChg>
      </pc:sldChg>
      <pc:sldChg chg="ord">
        <pc:chgData name="Kevin Hanson" userId="e60c6aad-8614-4884-8dc2-e8f78e5022b5" providerId="ADAL" clId="{51F54E1E-41C3-4549-AB07-5CD97EAA8A68}" dt="2024-04-24T16:33:26.680" v="11"/>
        <pc:sldMkLst>
          <pc:docMk/>
          <pc:sldMk cId="124367388" sldId="2141411444"/>
        </pc:sldMkLst>
      </pc:sldChg>
      <pc:sldChg chg="modSp mod">
        <pc:chgData name="Kevin Hanson" userId="e60c6aad-8614-4884-8dc2-e8f78e5022b5" providerId="ADAL" clId="{51F54E1E-41C3-4549-AB07-5CD97EAA8A68}" dt="2024-04-24T16:57:38.061" v="1186" actId="21"/>
        <pc:sldMkLst>
          <pc:docMk/>
          <pc:sldMk cId="3173487482" sldId="2141411554"/>
        </pc:sldMkLst>
        <pc:spChg chg="mod">
          <ac:chgData name="Kevin Hanson" userId="e60c6aad-8614-4884-8dc2-e8f78e5022b5" providerId="ADAL" clId="{51F54E1E-41C3-4549-AB07-5CD97EAA8A68}" dt="2024-04-24T16:57:38.061" v="1186" actId="21"/>
          <ac:spMkLst>
            <pc:docMk/>
            <pc:sldMk cId="3173487482" sldId="2141411554"/>
            <ac:spMk id="3" creationId="{E1F3F72A-850B-4B6D-BB79-4D65474A0470}"/>
          </ac:spMkLst>
        </pc:spChg>
        <pc:spChg chg="mod">
          <ac:chgData name="Kevin Hanson" userId="e60c6aad-8614-4884-8dc2-e8f78e5022b5" providerId="ADAL" clId="{51F54E1E-41C3-4549-AB07-5CD97EAA8A68}" dt="2024-04-24T16:48:39.184" v="474" actId="20577"/>
          <ac:spMkLst>
            <pc:docMk/>
            <pc:sldMk cId="3173487482" sldId="2141411554"/>
            <ac:spMk id="4" creationId="{CFA23CE4-79EC-4498-A433-3571B651B091}"/>
          </ac:spMkLst>
        </pc:spChg>
      </pc:sldChg>
      <pc:sldChg chg="del">
        <pc:chgData name="Kevin Hanson" userId="e60c6aad-8614-4884-8dc2-e8f78e5022b5" providerId="ADAL" clId="{51F54E1E-41C3-4549-AB07-5CD97EAA8A68}" dt="2024-04-24T17:06:37.542" v="1767" actId="47"/>
        <pc:sldMkLst>
          <pc:docMk/>
          <pc:sldMk cId="1697509904" sldId="2141411572"/>
        </pc:sldMkLst>
      </pc:sldChg>
      <pc:sldChg chg="del">
        <pc:chgData name="Kevin Hanson" userId="e60c6aad-8614-4884-8dc2-e8f78e5022b5" providerId="ADAL" clId="{51F54E1E-41C3-4549-AB07-5CD97EAA8A68}" dt="2024-04-24T17:06:37.955" v="1768" actId="47"/>
        <pc:sldMkLst>
          <pc:docMk/>
          <pc:sldMk cId="1719432851" sldId="2141411573"/>
        </pc:sldMkLst>
      </pc:sldChg>
      <pc:sldChg chg="del">
        <pc:chgData name="Kevin Hanson" userId="e60c6aad-8614-4884-8dc2-e8f78e5022b5" providerId="ADAL" clId="{51F54E1E-41C3-4549-AB07-5CD97EAA8A68}" dt="2024-04-24T17:06:37.003" v="1766" actId="47"/>
        <pc:sldMkLst>
          <pc:docMk/>
          <pc:sldMk cId="3248837613" sldId="2141411575"/>
        </pc:sldMkLst>
      </pc:sldChg>
      <pc:sldChg chg="del">
        <pc:chgData name="Kevin Hanson" userId="e60c6aad-8614-4884-8dc2-e8f78e5022b5" providerId="ADAL" clId="{51F54E1E-41C3-4549-AB07-5CD97EAA8A68}" dt="2024-04-24T17:06:33.848" v="1765" actId="47"/>
        <pc:sldMkLst>
          <pc:docMk/>
          <pc:sldMk cId="4102499870" sldId="2141411576"/>
        </pc:sldMkLst>
      </pc:sldChg>
      <pc:sldChg chg="del">
        <pc:chgData name="Kevin Hanson" userId="e60c6aad-8614-4884-8dc2-e8f78e5022b5" providerId="ADAL" clId="{51F54E1E-41C3-4549-AB07-5CD97EAA8A68}" dt="2024-04-24T17:06:39.046" v="1770" actId="47"/>
        <pc:sldMkLst>
          <pc:docMk/>
          <pc:sldMk cId="1764952173" sldId="2141411577"/>
        </pc:sldMkLst>
      </pc:sldChg>
      <pc:sldChg chg="del">
        <pc:chgData name="Kevin Hanson" userId="e60c6aad-8614-4884-8dc2-e8f78e5022b5" providerId="ADAL" clId="{51F54E1E-41C3-4549-AB07-5CD97EAA8A68}" dt="2024-04-24T17:06:38.328" v="1769" actId="47"/>
        <pc:sldMkLst>
          <pc:docMk/>
          <pc:sldMk cId="4099801766" sldId="2141411578"/>
        </pc:sldMkLst>
      </pc:sldChg>
      <pc:sldChg chg="modSp add mod">
        <pc:chgData name="Kevin Hanson" userId="e60c6aad-8614-4884-8dc2-e8f78e5022b5" providerId="ADAL" clId="{51F54E1E-41C3-4549-AB07-5CD97EAA8A68}" dt="2024-04-24T17:07:33.637" v="1811" actId="20577"/>
        <pc:sldMkLst>
          <pc:docMk/>
          <pc:sldMk cId="2565219634" sldId="2141411579"/>
        </pc:sldMkLst>
        <pc:spChg chg="mod">
          <ac:chgData name="Kevin Hanson" userId="e60c6aad-8614-4884-8dc2-e8f78e5022b5" providerId="ADAL" clId="{51F54E1E-41C3-4549-AB07-5CD97EAA8A68}" dt="2024-04-24T17:07:33.637" v="1811" actId="20577"/>
          <ac:spMkLst>
            <pc:docMk/>
            <pc:sldMk cId="2565219634" sldId="2141411579"/>
            <ac:spMk id="3" creationId="{E1F3F72A-850B-4B6D-BB79-4D65474A0470}"/>
          </ac:spMkLst>
        </pc:spChg>
        <pc:spChg chg="mod">
          <ac:chgData name="Kevin Hanson" userId="e60c6aad-8614-4884-8dc2-e8f78e5022b5" providerId="ADAL" clId="{51F54E1E-41C3-4549-AB07-5CD97EAA8A68}" dt="2024-04-24T16:48:47.846" v="476" actId="20577"/>
          <ac:spMkLst>
            <pc:docMk/>
            <pc:sldMk cId="2565219634" sldId="2141411579"/>
            <ac:spMk id="4" creationId="{CFA23CE4-79EC-4498-A433-3571B651B091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761" y="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t>24/04/2024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919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761" y="928919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312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t>24/04/2024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8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7358" y="4644596"/>
            <a:ext cx="5335961" cy="4398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312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15501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060879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252957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42215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67497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69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17571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2572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66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8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9642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5947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11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88593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86774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41841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66689435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1182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775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16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5831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3663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39661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6480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992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1710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077B87-3422-4388-8758-551D88FEA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83565368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077B87-3422-4388-8758-551D88FEA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663182-2F53-4B01-AB6F-460794093E7F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0" r:id="rId2"/>
    <p:sldLayoutId id="2147483801" r:id="rId3"/>
    <p:sldLayoutId id="2147483803" r:id="rId4"/>
    <p:sldLayoutId id="2147483813" r:id="rId5"/>
    <p:sldLayoutId id="2147483804" r:id="rId6"/>
    <p:sldLayoutId id="2147483805" r:id="rId7"/>
    <p:sldLayoutId id="2147483806" r:id="rId8"/>
    <p:sldLayoutId id="2147483786" r:id="rId9"/>
    <p:sldLayoutId id="2147483808" r:id="rId10"/>
    <p:sldLayoutId id="2147483809" r:id="rId11"/>
    <p:sldLayoutId id="2147483814" r:id="rId12"/>
    <p:sldLayoutId id="2147483810" r:id="rId13"/>
    <p:sldLayoutId id="2147483811" r:id="rId14"/>
    <p:sldLayoutId id="2147483812" r:id="rId15"/>
    <p:sldLayoutId id="2147483790" r:id="rId16"/>
    <p:sldLayoutId id="2147483815" r:id="rId17"/>
    <p:sldLayoutId id="2147483816" r:id="rId18"/>
    <p:sldLayoutId id="2147483784" r:id="rId1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4185338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2764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309064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948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9" r:id="rId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1" y="1411817"/>
            <a:ext cx="10625529" cy="2481427"/>
          </a:xfrm>
        </p:spPr>
        <p:txBody>
          <a:bodyPr/>
          <a:lstStyle/>
          <a:p>
            <a:r>
              <a:rPr lang="en-GB" dirty="0"/>
              <a:t>Supply Analysis Working Group Update</a:t>
            </a:r>
            <a:br>
              <a:rPr lang="en-GB" dirty="0"/>
            </a:br>
            <a:r>
              <a:rPr lang="en-GB" dirty="0"/>
              <a:t>May 2024 Update to WMS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0261" y="3599524"/>
            <a:ext cx="6406017" cy="1846659"/>
          </a:xfrm>
        </p:spPr>
        <p:txBody>
          <a:bodyPr/>
          <a:lstStyle/>
          <a:p>
            <a:r>
              <a:rPr lang="en-GB" b="0" dirty="0"/>
              <a:t>May 1, 2024</a:t>
            </a:r>
          </a:p>
          <a:p>
            <a:endParaRPr lang="en-GB" b="0" dirty="0"/>
          </a:p>
          <a:p>
            <a:r>
              <a:rPr lang="en-GB" b="0" dirty="0"/>
              <a:t>Kevin Hanson (National Grid) Chair</a:t>
            </a:r>
          </a:p>
          <a:p>
            <a:r>
              <a:rPr lang="en-GB" b="0" dirty="0"/>
              <a:t>Greg Lackey (CPS Energy) Co-Vice Chair</a:t>
            </a:r>
          </a:p>
          <a:p>
            <a:r>
              <a:rPr lang="en-GB" b="0" dirty="0"/>
              <a:t>Pete Warnken (ERCOT) Co-Vice Chair</a:t>
            </a:r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3F72A-850B-4B6D-BB79-4D65474A04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9235" y="1033757"/>
            <a:ext cx="10500575" cy="6217087"/>
          </a:xfrm>
        </p:spPr>
        <p:txBody>
          <a:bodyPr/>
          <a:lstStyle/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SAWG meeting occurred on April 19, 2024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CONE Study: ATWACC Feedback and Responses (Pete Warnken)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Brattle has posted a comment/response document on the 4/19/2024 SAWG </a:t>
            </a:r>
            <a:b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</a:b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meeting page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Question was asked about LTSA fee structure for peaking units 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ERCOT will propose to PUCT to do a further WACC study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Project is still on track with the draft study report expected by the end of May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Brattle reduced the LM6000PC turbine count from eight to six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Reliability Standard Updates (Pete Warnken)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ERCOT filed Phase 3 and 4 portfolio simulations with the PUCT on 4/4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Open meeting held 4/11 where the Commissioners signaled the desire to refine the reliability standard parameters during the 5/16 open meeting and adopt a rule in August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Public PUCT workshop on the reliability standard planned for 5/2</a:t>
            </a:r>
          </a:p>
          <a:p>
            <a:endParaRPr lang="en-US" sz="1800" b="0" dirty="0">
              <a:solidFill>
                <a:srgbClr val="212529"/>
              </a:solidFill>
              <a:latin typeface="Roboto" panose="02000000000000000000" pitchFamily="2" charset="0"/>
            </a:endParaRPr>
          </a:p>
          <a:p>
            <a:endParaRPr lang="en-US" sz="1800" b="0" dirty="0">
              <a:solidFill>
                <a:srgbClr val="212529"/>
              </a:solidFill>
              <a:latin typeface="Roboto" panose="02000000000000000000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23CE4-79EC-4498-A433-3571B651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(page 1)</a:t>
            </a:r>
          </a:p>
        </p:txBody>
      </p:sp>
    </p:spTree>
    <p:extLst>
      <p:ext uri="{BB962C8B-B14F-4D97-AF65-F5344CB8AC3E}">
        <p14:creationId xmlns:p14="http://schemas.microsoft.com/office/powerpoint/2010/main" val="31734874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3F72A-850B-4B6D-BB79-4D65474A04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41528" y="931281"/>
            <a:ext cx="9593887" cy="5457904"/>
          </a:xfrm>
        </p:spPr>
        <p:txBody>
          <a:bodyPr/>
          <a:lstStyle/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VOLL Study Updates (Pete Warnken)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VOLL survey soft launch began on 3/26 with larger outreach to Competitive Retail areas starting 4/9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Outreach to NOIE customers </a:t>
            </a:r>
            <a:r>
              <a:rPr lang="en-US" sz="1600" b="0" dirty="0" err="1">
                <a:solidFill>
                  <a:srgbClr val="212529"/>
                </a:solidFill>
                <a:latin typeface="Roboto" panose="02000000000000000000" pitchFamily="2" charset="0"/>
              </a:rPr>
              <a:t>begain</a:t>
            </a: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 4/16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Current response metrics are positive: ~1,150 residential and ~600 commercial responses so far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Survey will be open until 5/17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Still anticipating VOLL survey project completion by end of Q3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CDR NPRR </a:t>
            </a:r>
            <a:r>
              <a:rPr lang="en-US" sz="1600" b="0" dirty="0" err="1">
                <a:solidFill>
                  <a:srgbClr val="212529"/>
                </a:solidFill>
                <a:latin typeface="Roboto" panose="02000000000000000000" pitchFamily="2" charset="0"/>
              </a:rPr>
              <a:t>followup</a:t>
            </a: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 (Pete Warnken)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Discussion was held on NPRR </a:t>
            </a:r>
            <a:r>
              <a:rPr lang="en-US" sz="1600" b="0">
                <a:solidFill>
                  <a:srgbClr val="212529"/>
                </a:solidFill>
                <a:latin typeface="Roboto" panose="02000000000000000000" pitchFamily="2" charset="0"/>
              </a:rPr>
              <a:t>1219 regarding energy storage ELCC calculation approaches </a:t>
            </a: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and clarification of seasonal vs annual language with the removal of the word “annual”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Additional discussion expected next month</a:t>
            </a:r>
          </a:p>
          <a:p>
            <a:pPr marL="285750" indent="-285750">
              <a:buFont typeface="Courier New" panose="02070309020205020404" pitchFamily="49" charset="0"/>
              <a:buChar char="o"/>
            </a:pPr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New Load Forecast will be included in May 2024 CDR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CONE NPRR (Pete Warnken) was discussed further</a:t>
            </a:r>
          </a:p>
          <a:p>
            <a:r>
              <a:rPr lang="en-US" sz="1600" b="0" dirty="0">
                <a:solidFill>
                  <a:srgbClr val="212529"/>
                </a:solidFill>
                <a:latin typeface="Roboto" panose="02000000000000000000" pitchFamily="2" charset="0"/>
              </a:rPr>
              <a:t>Planned Project Success Rate Analysis	(Dan Mantena) was presented</a:t>
            </a:r>
            <a:endParaRPr lang="en-US" b="0" dirty="0">
              <a:solidFill>
                <a:srgbClr val="212529"/>
              </a:solidFill>
              <a:latin typeface="Roboto" panose="02000000000000000000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23CE4-79EC-4498-A433-3571B651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 (page 2)</a:t>
            </a:r>
          </a:p>
        </p:txBody>
      </p:sp>
    </p:spTree>
    <p:extLst>
      <p:ext uri="{BB962C8B-B14F-4D97-AF65-F5344CB8AC3E}">
        <p14:creationId xmlns:p14="http://schemas.microsoft.com/office/powerpoint/2010/main" val="2565219634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36738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25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tuOilFu0w7I84mS_.V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heme/theme1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" id="{02A2C634-F83B-4667-9013-9940280A62A9}" vid="{5009B880-53A3-441F-8D33-BFBDCF9468D3}"/>
    </a:ext>
  </a:extLst>
</a:theme>
</file>

<file path=ppt/theme/theme2.xml><?xml version="1.0" encoding="utf-8"?>
<a:theme xmlns:a="http://schemas.openxmlformats.org/drawingml/2006/main" name="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3.xml><?xml version="1.0" encoding="utf-8"?>
<a:theme xmlns:a="http://schemas.openxmlformats.org/drawingml/2006/main" name="1_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C217B65CDFCE4CA575B84210C98C75" ma:contentTypeVersion="11" ma:contentTypeDescription="Create a new document." ma:contentTypeScope="" ma:versionID="01bc001749ed38fc1f855522dd7c6f1e">
  <xsd:schema xmlns:xsd="http://www.w3.org/2001/XMLSchema" xmlns:xs="http://www.w3.org/2001/XMLSchema" xmlns:p="http://schemas.microsoft.com/office/2006/metadata/properties" xmlns:ns2="e05e7fb9-d0e6-4ab6-b560-888fcb485524" xmlns:ns3="2d3d4732-a288-4eb3-92ed-f68c40ba596f" targetNamespace="http://schemas.microsoft.com/office/2006/metadata/properties" ma:root="true" ma:fieldsID="7f8727be0e5b919fc4bd2c3bf4b8fce9" ns2:_="" ns3:_="">
    <xsd:import namespace="e05e7fb9-d0e6-4ab6-b560-888fcb485524"/>
    <xsd:import namespace="2d3d4732-a288-4eb3-92ed-f68c40ba59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5e7fb9-d0e6-4ab6-b560-888fcb4855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3d4732-a288-4eb3-92ed-f68c40ba59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>
    <SharedWithUsers xmlns="2d3d4732-a288-4eb3-92ed-f68c40ba596f">
      <UserInfo>
        <DisplayName>Semal, Clara</DisplayName>
        <AccountId>485</AccountId>
        <AccountType/>
      </UserInfo>
      <UserInfo>
        <DisplayName>McCormick, Terry</DisplayName>
        <AccountId>22</AccountId>
        <AccountType/>
      </UserInfo>
      <UserInfo>
        <DisplayName>Saunders, Nick</DisplayName>
        <AccountId>6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BB13AA91-3831-4D9E-B60D-7249B6D4E725}">
  <ds:schemaRefs>
    <ds:schemaRef ds:uri="2d3d4732-a288-4eb3-92ed-f68c40ba596f"/>
    <ds:schemaRef ds:uri="e05e7fb9-d0e6-4ab6-b560-888fcb48552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641989E3-E6A5-48A2-8585-F2FA39FD2E5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E04DA17-4FAB-418C-88AF-EBB5C20EE5F3}">
  <ds:schemaRefs>
    <ds:schemaRef ds:uri="http://purl.org/dc/terms/"/>
    <ds:schemaRef ds:uri="e05e7fb9-d0e6-4ab6-b560-888fcb485524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2d3d4732-a288-4eb3-92ed-f68c40ba596f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draft template 16x9</Template>
  <TotalTime>4731</TotalTime>
  <Words>319</Words>
  <Application>Microsoft Office PowerPoint</Application>
  <PresentationFormat>Widescreen</PresentationFormat>
  <Paragraphs>31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2" baseType="lpstr">
      <vt:lpstr>Arial</vt:lpstr>
      <vt:lpstr>Calibri</vt:lpstr>
      <vt:lpstr>Courier New</vt:lpstr>
      <vt:lpstr>Roboto</vt:lpstr>
      <vt:lpstr>US NG_2018 PPT__EnergyLines Template 16x9</vt:lpstr>
      <vt:lpstr>US NG_2018 PPT_Energy Lines Template 16x9</vt:lpstr>
      <vt:lpstr>1_US NG_2018 PPT_Energy Lines Template 16x9</vt:lpstr>
      <vt:lpstr>think-cell Slide</vt:lpstr>
      <vt:lpstr>Supply Analysis Working Group Update May 2024 Update to WMS  </vt:lpstr>
      <vt:lpstr>Overview (page 1)</vt:lpstr>
      <vt:lpstr>Overview (page 2)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and Committee PowerPoint Draft Template</dc:title>
  <dc:creator>Saunders, Karen</dc:creator>
  <cp:lastModifiedBy>Kevin Hanson</cp:lastModifiedBy>
  <cp:revision>13</cp:revision>
  <cp:lastPrinted>2018-08-10T07:16:05Z</cp:lastPrinted>
  <dcterms:created xsi:type="dcterms:W3CDTF">2021-05-20T11:21:33Z</dcterms:created>
  <dcterms:modified xsi:type="dcterms:W3CDTF">2024-04-24T19:5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CC217B65CDFCE4CA575B84210C98C75</vt:lpwstr>
  </property>
  <property fmtid="{D5CDD505-2E9C-101B-9397-08002B2CF9AE}" pid="4" name="Order">
    <vt:r8>17755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dlc_policyId">
    <vt:lpwstr/>
  </property>
  <property fmtid="{D5CDD505-2E9C-101B-9397-08002B2CF9AE}" pid="10" name="ItemRetentionFormula">
    <vt:lpwstr/>
  </property>
  <property fmtid="{D5CDD505-2E9C-101B-9397-08002B2CF9AE}" pid="11" name="_dlc_DocIdItemGuid">
    <vt:lpwstr>d004208b-03c6-48b5-89f2-0b221f829cae</vt:lpwstr>
  </property>
  <property fmtid="{D5CDD505-2E9C-101B-9397-08002B2CF9AE}" pid="12" name="Business Areas">
    <vt:lpwstr>114;#Group Legal and Company Secretariat|fe1c60f5-cbc5-49d1-aea2-9bb3d35271af</vt:lpwstr>
  </property>
  <property fmtid="{D5CDD505-2E9C-101B-9397-08002B2CF9AE}" pid="13" name="Document Categories">
    <vt:lpwstr>58;#Template|bb203242-d1ea-4b7c-baec-f6b6c36ad46a</vt:lpwstr>
  </property>
  <property fmtid="{D5CDD505-2E9C-101B-9397-08002B2CF9AE}" pid="14" name="Topics">
    <vt:lpwstr>112;#About us|b902a50f-cfcc-411c-9d60-9078b33d113f</vt:lpwstr>
  </property>
  <property fmtid="{D5CDD505-2E9C-101B-9397-08002B2CF9AE}" pid="15" name="Locations">
    <vt:lpwstr>11;#United Kingdom|92f25aa8-55c2-40bf-9172-4a299f89b05a;#21;#United States|8fef47f8-cb6c-4de5-bc11-508784361bd5</vt:lpwstr>
  </property>
  <property fmtid="{D5CDD505-2E9C-101B-9397-08002B2CF9AE}" pid="16" name="MSIP_Label_7084cbda-52b8-46fb-a7b7-cb5bd465ed85_Enabled">
    <vt:lpwstr>true</vt:lpwstr>
  </property>
  <property fmtid="{D5CDD505-2E9C-101B-9397-08002B2CF9AE}" pid="17" name="MSIP_Label_7084cbda-52b8-46fb-a7b7-cb5bd465ed85_SetDate">
    <vt:lpwstr>2023-09-05T12:43:45Z</vt:lpwstr>
  </property>
  <property fmtid="{D5CDD505-2E9C-101B-9397-08002B2CF9AE}" pid="18" name="MSIP_Label_7084cbda-52b8-46fb-a7b7-cb5bd465ed85_Method">
    <vt:lpwstr>Standard</vt:lpwstr>
  </property>
  <property fmtid="{D5CDD505-2E9C-101B-9397-08002B2CF9AE}" pid="19" name="MSIP_Label_7084cbda-52b8-46fb-a7b7-cb5bd465ed85_Name">
    <vt:lpwstr>Internal</vt:lpwstr>
  </property>
  <property fmtid="{D5CDD505-2E9C-101B-9397-08002B2CF9AE}" pid="20" name="MSIP_Label_7084cbda-52b8-46fb-a7b7-cb5bd465ed85_SiteId">
    <vt:lpwstr>0afb747d-bff7-4596-a9fc-950ef9e0ec45</vt:lpwstr>
  </property>
  <property fmtid="{D5CDD505-2E9C-101B-9397-08002B2CF9AE}" pid="21" name="MSIP_Label_7084cbda-52b8-46fb-a7b7-cb5bd465ed85_ActionId">
    <vt:lpwstr>cfeb7e78-0b35-4957-8058-ba2536752d53</vt:lpwstr>
  </property>
  <property fmtid="{D5CDD505-2E9C-101B-9397-08002B2CF9AE}" pid="22" name="MSIP_Label_7084cbda-52b8-46fb-a7b7-cb5bd465ed85_ContentBits">
    <vt:lpwstr>0</vt:lpwstr>
  </property>
</Properties>
</file>